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70" autoAdjust="0"/>
  </p:normalViewPr>
  <p:slideViewPr>
    <p:cSldViewPr>
      <p:cViewPr varScale="1">
        <p:scale>
          <a:sx n="106" d="100"/>
          <a:sy n="106" d="100"/>
        </p:scale>
        <p:origin x="1158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/>
              <a:t>Asıl alt başlık stil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11.09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</a:t>
            </a:r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V</a:t>
            </a:r>
            <a:r>
              <a:rPr lang="tr-TR" sz="3600" b="1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. </a:t>
            </a:r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TOPLANTISI       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19 EKİM 2023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ERŞEMBE</a:t>
            </a: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5858330"/>
              </p:ext>
            </p:extLst>
          </p:nvPr>
        </p:nvGraphicFramePr>
        <p:xfrm>
          <a:off x="51891" y="836712"/>
          <a:ext cx="90921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3787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815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Tut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3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Parasal</a:t>
                      </a:r>
                      <a:r>
                        <a:rPr lang="tr-TR" sz="1100" b="1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Y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2023 Yılı Harcamas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Aşamasındaki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Kal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Raporu</a:t>
            </a:r>
          </a:p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3 YILI 4. TOPLANTISI)</a:t>
            </a: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Projeleri İzleme Raporu</a:t>
            </a:r>
          </a:p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3 YILI 4. TOPLANTISI )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670092"/>
              </p:ext>
            </p:extLst>
          </p:nvPr>
        </p:nvGraphicFramePr>
        <p:xfrm>
          <a:off x="107500" y="879429"/>
          <a:ext cx="8928995" cy="5454688"/>
        </p:xfrm>
        <a:graphic>
          <a:graphicData uri="http://schemas.openxmlformats.org/drawingml/2006/table">
            <a:tbl>
              <a:tblPr/>
              <a:tblGrid>
                <a:gridCol w="669400">
                  <a:extLst>
                    <a:ext uri="{9D8B030D-6E8A-4147-A177-3AD203B41FA5}">
                      <a16:colId xmlns:a16="http://schemas.microsoft.com/office/drawing/2014/main" val="3919883195"/>
                    </a:ext>
                  </a:extLst>
                </a:gridCol>
                <a:gridCol w="1799699">
                  <a:extLst>
                    <a:ext uri="{9D8B030D-6E8A-4147-A177-3AD203B41FA5}">
                      <a16:colId xmlns:a16="http://schemas.microsoft.com/office/drawing/2014/main" val="1179629219"/>
                    </a:ext>
                  </a:extLst>
                </a:gridCol>
                <a:gridCol w="685860">
                  <a:extLst>
                    <a:ext uri="{9D8B030D-6E8A-4147-A177-3AD203B41FA5}">
                      <a16:colId xmlns:a16="http://schemas.microsoft.com/office/drawing/2014/main" val="443924026"/>
                    </a:ext>
                  </a:extLst>
                </a:gridCol>
                <a:gridCol w="806573">
                  <a:extLst>
                    <a:ext uri="{9D8B030D-6E8A-4147-A177-3AD203B41FA5}">
                      <a16:colId xmlns:a16="http://schemas.microsoft.com/office/drawing/2014/main" val="1995520928"/>
                    </a:ext>
                  </a:extLst>
                </a:gridCol>
                <a:gridCol w="819375">
                  <a:extLst>
                    <a:ext uri="{9D8B030D-6E8A-4147-A177-3AD203B41FA5}">
                      <a16:colId xmlns:a16="http://schemas.microsoft.com/office/drawing/2014/main" val="3450176581"/>
                    </a:ext>
                  </a:extLst>
                </a:gridCol>
                <a:gridCol w="790112">
                  <a:extLst>
                    <a:ext uri="{9D8B030D-6E8A-4147-A177-3AD203B41FA5}">
                      <a16:colId xmlns:a16="http://schemas.microsoft.com/office/drawing/2014/main" val="3287352556"/>
                    </a:ext>
                  </a:extLst>
                </a:gridCol>
                <a:gridCol w="795598">
                  <a:extLst>
                    <a:ext uri="{9D8B030D-6E8A-4147-A177-3AD203B41FA5}">
                      <a16:colId xmlns:a16="http://schemas.microsoft.com/office/drawing/2014/main" val="314582360"/>
                    </a:ext>
                  </a:extLst>
                </a:gridCol>
                <a:gridCol w="618163">
                  <a:extLst>
                    <a:ext uri="{9D8B030D-6E8A-4147-A177-3AD203B41FA5}">
                      <a16:colId xmlns:a16="http://schemas.microsoft.com/office/drawing/2014/main" val="309060706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969679353"/>
                    </a:ext>
                  </a:extLst>
                </a:gridCol>
                <a:gridCol w="846896">
                  <a:extLst>
                    <a:ext uri="{9D8B030D-6E8A-4147-A177-3AD203B41FA5}">
                      <a16:colId xmlns:a16="http://schemas.microsoft.com/office/drawing/2014/main" val="3705440588"/>
                    </a:ext>
                  </a:extLst>
                </a:gridCol>
                <a:gridCol w="521255">
                  <a:extLst>
                    <a:ext uri="{9D8B030D-6E8A-4147-A177-3AD203B41FA5}">
                      <a16:colId xmlns:a16="http://schemas.microsoft.com/office/drawing/2014/main" val="3073909584"/>
                    </a:ext>
                  </a:extLst>
                </a:gridCol>
              </a:tblGrid>
              <a:tr h="717366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nn-N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LYAS YATIRIM TAKİP FORMU (EK-1)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304291"/>
                  </a:ext>
                </a:extLst>
              </a:tr>
              <a:tr h="1285844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Numarası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Ad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er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Tutar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ki Yıllar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 Yılı Ödeneğ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önem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ziki </a:t>
                      </a:r>
                    </a:p>
                    <a:p>
                      <a:pPr algn="ctr" fontAlgn="ctr"/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kdi </a:t>
                      </a:r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Durumu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Fotoğrafı Sisteme Yüklendi mi?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63865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9225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4592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335656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1196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712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46789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674331"/>
                  </a:ext>
                </a:extLst>
              </a:tr>
              <a:tr h="51434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08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210277"/>
              </p:ext>
            </p:extLst>
          </p:nvPr>
        </p:nvGraphicFramePr>
        <p:xfrm>
          <a:off x="107504" y="1007603"/>
          <a:ext cx="4320480" cy="509743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278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Yeri (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Bedeli (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Harcamaları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 Yıl İçi Harcama </a:t>
                      </a:r>
                      <a:r>
                        <a:rPr lang="tr-TR" sz="1050" b="1" u="none" strike="noStrike" kern="1200" dirty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2023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>
                          <a:effectLst/>
                        </a:rPr>
                        <a:t>Yılı Ödeneği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7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395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78608">
                <a:tc gridSpan="2">
                  <a:txBody>
                    <a:bodyPr/>
                    <a:lstStyle/>
                    <a:p>
                      <a:pPr algn="just" fontAlgn="b"/>
                      <a:endParaRPr lang="tr-TR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 ve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4</a:t>
            </a:r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Sektörler ve Alt Sektörleri</a:t>
            </a: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idroelektr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ent İçi 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5</a:t>
            </a:r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İçin 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Personel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Kurum Görevlisinin</a:t>
                      </a:r>
                      <a:r>
                        <a:rPr lang="tr-TR" sz="10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6</a:t>
            </a:r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89</TotalTime>
  <Words>751</Words>
  <Application>Microsoft Office PowerPoint</Application>
  <PresentationFormat>Ekran Gösterisi (4:3)</PresentationFormat>
  <Paragraphs>326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Ülkü PAŞAOSMANOĞLU</cp:lastModifiedBy>
  <cp:revision>239</cp:revision>
  <cp:lastPrinted>2017-09-05T10:25:42Z</cp:lastPrinted>
  <dcterms:created xsi:type="dcterms:W3CDTF">2013-12-10T10:55:21Z</dcterms:created>
  <dcterms:modified xsi:type="dcterms:W3CDTF">2023-09-11T08:25:34Z</dcterms:modified>
</cp:coreProperties>
</file>